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435" r:id="rId2"/>
    <p:sldId id="438" r:id="rId3"/>
    <p:sldId id="437" r:id="rId4"/>
    <p:sldId id="408" r:id="rId5"/>
    <p:sldId id="257" r:id="rId6"/>
    <p:sldId id="375" r:id="rId7"/>
    <p:sldId id="409" r:id="rId8"/>
    <p:sldId id="414" r:id="rId9"/>
    <p:sldId id="410" r:id="rId10"/>
    <p:sldId id="395" r:id="rId11"/>
    <p:sldId id="439" r:id="rId12"/>
    <p:sldId id="374" r:id="rId13"/>
    <p:sldId id="396" r:id="rId14"/>
    <p:sldId id="353" r:id="rId15"/>
    <p:sldId id="352" r:id="rId16"/>
    <p:sldId id="411" r:id="rId17"/>
    <p:sldId id="397" r:id="rId18"/>
    <p:sldId id="418" r:id="rId19"/>
    <p:sldId id="420" r:id="rId20"/>
    <p:sldId id="416" r:id="rId21"/>
    <p:sldId id="434" r:id="rId22"/>
    <p:sldId id="413" r:id="rId23"/>
    <p:sldId id="421" r:id="rId24"/>
    <p:sldId id="422" r:id="rId25"/>
    <p:sldId id="423" r:id="rId26"/>
    <p:sldId id="424" r:id="rId27"/>
    <p:sldId id="425" r:id="rId28"/>
    <p:sldId id="426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 varScale="1">
        <p:scale>
          <a:sx n="71" d="100"/>
          <a:sy n="71" d="100"/>
        </p:scale>
        <p:origin x="37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6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supervisord.org/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ed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minutes, it's probably 2-3 second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Memor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ing applications in memory rather than disk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imal Footprint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ousands of MBs, it's tens of MB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Run Man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ke literally 100 containers could be run in parallel on a single box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ilience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you have a crash, you can relaunch immediately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one container gets DDOS </a:t>
            </a:r>
            <a:r>
              <a:rPr lang="en-US" sz="1200" b="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da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tack, others won't get effected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pshots -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union file-syst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isagoksu.com/2014/what-is-docker-what-makes-it-different-from-vms/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SC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nux ca. 380 System Call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eit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024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Im Zentrum von Docker stehen Images und Container:</a:t>
            </a:r>
          </a:p>
          <a:p>
            <a:pPr lvl="1"/>
            <a:r>
              <a:rPr lang="de-DE" sz="1600" b="1" dirty="0" smtClean="0"/>
              <a:t>Image</a:t>
            </a:r>
            <a:r>
              <a:rPr lang="de-DE" sz="1600" dirty="0" smtClean="0"/>
              <a:t> = Ordner/Dateien mit App, </a:t>
            </a:r>
            <a:r>
              <a:rPr lang="de-DE" sz="1600" dirty="0" err="1" smtClean="0"/>
              <a:t>Libs</a:t>
            </a:r>
            <a:r>
              <a:rPr lang="de-DE" sz="1600" dirty="0" smtClean="0"/>
              <a:t> etc. Ein Image basiert i.d.R. auf einem anderen Image und speichert nur das Delta zu diesem Image. Ausnahme: Das Base-Image.</a:t>
            </a:r>
          </a:p>
          <a:p>
            <a:pPr lvl="1"/>
            <a:r>
              <a:rPr lang="de-DE" sz="1600" b="1" dirty="0" smtClean="0"/>
              <a:t>Container</a:t>
            </a:r>
            <a:r>
              <a:rPr lang="de-DE" sz="1600" dirty="0" smtClean="0"/>
              <a:t> = Image-Kette + Laufzeit-Zustand. Ein Container lebt nur so lange, wie der erste Prozess läuft, der darin gestartet wurde. Bei mehreren Prozessen nutzt man i.d.R. </a:t>
            </a:r>
            <a:r>
              <a:rPr lang="de-DE" sz="1600" dirty="0" smtClean="0">
                <a:hlinkClick r:id="rId3"/>
              </a:rPr>
              <a:t>http://supervisord.org</a:t>
            </a:r>
            <a:r>
              <a:rPr lang="de-DE" sz="1600" dirty="0" smtClean="0"/>
              <a:t> als ersten Prozes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108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13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6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6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6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hyperlink" Target="https://www.opencontainers.org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8.emf"/><Relationship Id="rId6" Type="http://schemas.openxmlformats.org/officeDocument/2006/relationships/image" Target="../media/image22.png"/><Relationship Id="rId7" Type="http://schemas.openxmlformats.org/officeDocument/2006/relationships/hyperlink" Target="http://docs.docker.com/engine/introduction/understanding-docker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coderwall.com/p/2es5jw/docker-cheat-sheet-with-examples" TargetMode="External"/><Relationship Id="rId3" Type="http://schemas.openxmlformats.org/officeDocument/2006/relationships/hyperlink" Target="https://docs.docker.com/referenc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Relationship Id="rId3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hyperlink" Target="http://docs.docker.com/engine/reference/builder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Relationship Id="rId3" Type="http://schemas.openxmlformats.org/officeDocument/2006/relationships/image" Target="../media/image9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ithub.com/veggiemonk/awesome-docker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3.emf"/><Relationship Id="rId6" Type="http://schemas.openxmlformats.org/officeDocument/2006/relationships/image" Target="../media/image14.jpeg"/><Relationship Id="rId7" Type="http://schemas.openxmlformats.org/officeDocument/2006/relationships/image" Target="../media/image15.jpeg"/><Relationship Id="rId8" Type="http://schemas.openxmlformats.org/officeDocument/2006/relationships/image" Target="../media/image16.jpeg"/><Relationship Id="rId9" Type="http://schemas.openxmlformats.org/officeDocument/2006/relationships/image" Target="../media/image17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3" Type="http://schemas.openxmlformats.org/officeDocument/2006/relationships/hyperlink" Target="https://imagelayers.io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45460" y="5365067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Containeriz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Archite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98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Building Block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3970" y="1515724"/>
            <a:ext cx="5738173" cy="445224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89272" y="4474128"/>
            <a:ext cx="3657600" cy="1493836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7346872" y="2980291"/>
            <a:ext cx="1287230" cy="2987673"/>
          </a:xfrm>
          <a:prstGeom prst="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9" name="Gerader Verbinder 8"/>
          <p:cNvCxnSpPr>
            <a:endCxn id="4" idx="1"/>
          </p:cNvCxnSpPr>
          <p:nvPr/>
        </p:nvCxnSpPr>
        <p:spPr>
          <a:xfrm>
            <a:off x="1582886" y="4939719"/>
            <a:ext cx="2106386" cy="281327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449242" y="472419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Isolation</a:t>
            </a:r>
            <a:endParaRPr lang="de-DE" b="1" dirty="0"/>
          </a:p>
        </p:txBody>
      </p:sp>
      <p:cxnSp>
        <p:nvCxnSpPr>
          <p:cNvPr id="11" name="Gerader Verbinder 10"/>
          <p:cNvCxnSpPr>
            <a:endCxn id="7" idx="3"/>
          </p:cNvCxnSpPr>
          <p:nvPr/>
        </p:nvCxnSpPr>
        <p:spPr>
          <a:xfrm flipH="1">
            <a:off x="8634102" y="2565900"/>
            <a:ext cx="1168244" cy="1908228"/>
          </a:xfrm>
          <a:prstGeom prst="line">
            <a:avLst/>
          </a:prstGeom>
          <a:ln w="31750" cmpd="sng">
            <a:solidFill>
              <a:srgbClr val="FF0000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802346" y="2397657"/>
            <a:ext cx="231345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Union File Systems</a:t>
            </a:r>
            <a:endParaRPr lang="de-DE" b="1" dirty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Modification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stored</a:t>
            </a:r>
            <a:r>
              <a:rPr lang="de-DE" sz="1400" dirty="0" smtClean="0"/>
              <a:t> in </a:t>
            </a:r>
            <a:r>
              <a:rPr lang="de-DE" sz="1400" dirty="0" err="1" smtClean="0"/>
              <a:t>seperat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layer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L</a:t>
            </a:r>
            <a:r>
              <a:rPr lang="de-DE" sz="1400" dirty="0" err="1" smtClean="0"/>
              <a:t>ayer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unifi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one</a:t>
            </a:r>
            <a:r>
              <a:rPr lang="de-DE" sz="1400" dirty="0" smtClean="0"/>
              <a:t> </a:t>
            </a:r>
            <a:br>
              <a:rPr lang="de-DE" sz="1400" dirty="0" smtClean="0"/>
            </a:br>
            <a:r>
              <a:rPr lang="de-DE" sz="1400" dirty="0" err="1" smtClean="0"/>
              <a:t>consistent</a:t>
            </a:r>
            <a:r>
              <a:rPr lang="de-DE" sz="1400" dirty="0" smtClean="0"/>
              <a:t> FS </a:t>
            </a:r>
            <a:r>
              <a:rPr lang="de-DE" sz="1400" dirty="0" err="1" smtClean="0"/>
              <a:t>view</a:t>
            </a:r>
            <a:endParaRPr lang="de-DE" sz="1400" dirty="0"/>
          </a:p>
        </p:txBody>
      </p:sp>
      <p:grpSp>
        <p:nvGrpSpPr>
          <p:cNvPr id="24" name="Gruppieren 23"/>
          <p:cNvGrpSpPr/>
          <p:nvPr/>
        </p:nvGrpSpPr>
        <p:grpSpPr>
          <a:xfrm>
            <a:off x="149575" y="1501167"/>
            <a:ext cx="7197297" cy="2972960"/>
            <a:chOff x="198800" y="1574319"/>
            <a:chExt cx="7197297" cy="2972960"/>
          </a:xfrm>
        </p:grpSpPr>
        <p:sp>
          <p:nvSpPr>
            <p:cNvPr id="17" name="Rechteck 16"/>
            <p:cNvSpPr/>
            <p:nvPr/>
          </p:nvSpPr>
          <p:spPr>
            <a:xfrm>
              <a:off x="3738497" y="3053443"/>
              <a:ext cx="3657600" cy="1493836"/>
            </a:xfrm>
            <a:prstGeom prst="rect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cxnSp>
          <p:nvCxnSpPr>
            <p:cNvPr id="18" name="Gerader Verbinder 17"/>
            <p:cNvCxnSpPr/>
            <p:nvPr/>
          </p:nvCxnSpPr>
          <p:spPr>
            <a:xfrm>
              <a:off x="2808514" y="1796143"/>
              <a:ext cx="929983" cy="1257300"/>
            </a:xfrm>
            <a:prstGeom prst="line">
              <a:avLst/>
            </a:prstGeom>
            <a:ln w="31750" cmpd="sng">
              <a:solidFill>
                <a:srgbClr val="FF0000"/>
              </a:solidFill>
              <a:headEnd w="lg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/>
            <p:nvPr/>
          </p:nvSpPr>
          <p:spPr>
            <a:xfrm>
              <a:off x="815661" y="1574319"/>
              <a:ext cx="1992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smtClean="0"/>
                <a:t>Containerization</a:t>
              </a:r>
              <a:endParaRPr lang="de-DE" b="1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98800" y="1921050"/>
              <a:ext cx="28491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Docker </a:t>
              </a:r>
              <a:r>
                <a:rPr lang="de-DE" sz="1400" dirty="0" err="1" smtClean="0"/>
                <a:t>currently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supports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Libcontainer</a:t>
              </a:r>
              <a:r>
                <a:rPr lang="de-DE" sz="1400" dirty="0" smtClean="0"/>
                <a:t>, LXC </a:t>
              </a:r>
              <a:r>
                <a:rPr lang="de-DE" sz="1400" dirty="0" err="1" smtClean="0"/>
                <a:t>and</a:t>
              </a:r>
              <a:r>
                <a:rPr lang="de-DE" sz="1400" dirty="0" smtClean="0"/>
                <a:t> OCI</a:t>
              </a:r>
            </a:p>
            <a:p>
              <a:r>
                <a:rPr lang="de-DE" sz="1400" dirty="0" smtClean="0"/>
                <a:t>(</a:t>
              </a:r>
              <a:r>
                <a:rPr lang="de-DE" sz="1400" dirty="0" smtClean="0">
                  <a:hlinkClick r:id="rId3"/>
                </a:rPr>
                <a:t>https</a:t>
              </a:r>
              <a:r>
                <a:rPr lang="de-DE" sz="1400" dirty="0">
                  <a:hlinkClick r:id="rId3"/>
                </a:rPr>
                <a:t>://www.opencontainers.org</a:t>
              </a:r>
              <a:r>
                <a:rPr lang="de-DE" sz="1400" dirty="0" smtClean="0"/>
                <a:t>)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417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10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7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2663" y="453994"/>
            <a:ext cx="7895004" cy="427519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5" name="AutoShape 2" descr="Docker Architecture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8062718" y="2811141"/>
            <a:ext cx="2618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ublic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Docker Hub </a:t>
            </a:r>
            <a:r>
              <a:rPr lang="de-DE" sz="1600" dirty="0" err="1" smtClean="0"/>
              <a:t>or</a:t>
            </a:r>
            <a:r>
              <a:rPr lang="de-DE" sz="1600" dirty="0" smtClean="0"/>
              <a:t> Quay.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Private </a:t>
            </a:r>
            <a:r>
              <a:rPr lang="de-DE" sz="1600" dirty="0" err="1" smtClean="0"/>
              <a:t>registries</a:t>
            </a:r>
            <a:r>
              <a:rPr lang="de-DE" sz="1600" dirty="0" smtClean="0"/>
              <a:t> like </a:t>
            </a:r>
            <a:r>
              <a:rPr lang="de-DE" sz="1600" dirty="0" err="1" smtClean="0"/>
              <a:t>Artifactory</a:t>
            </a:r>
            <a:r>
              <a:rPr lang="de-DE" sz="1600" dirty="0" smtClean="0"/>
              <a:t>, Nexus </a:t>
            </a:r>
            <a:r>
              <a:rPr lang="de-DE" sz="1600" dirty="0" err="1" smtClean="0"/>
              <a:t>or</a:t>
            </a:r>
            <a:r>
              <a:rPr lang="de-DE" sz="1600" dirty="0" smtClean="0"/>
              <a:t> Docker Registry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939551" y="2628357"/>
            <a:ext cx="26180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Command </a:t>
            </a:r>
            <a:r>
              <a:rPr lang="de-DE" sz="1600" dirty="0" err="1" smtClean="0"/>
              <a:t>line</a:t>
            </a:r>
            <a:r>
              <a:rPr lang="de-DE" sz="1600" dirty="0" smtClean="0"/>
              <a:t>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socket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clien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/>
              <a:t> </a:t>
            </a:r>
            <a:r>
              <a:rPr lang="de-DE" sz="1600" dirty="0" err="1" smtClean="0"/>
              <a:t>docker</a:t>
            </a:r>
            <a:r>
              <a:rPr lang="de-DE" sz="1600" dirty="0" smtClean="0"/>
              <a:t>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REST API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18132" y="4561938"/>
            <a:ext cx="3934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entral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ontrol</a:t>
            </a:r>
            <a:r>
              <a:rPr lang="de-DE" sz="1600" dirty="0" smtClean="0"/>
              <a:t> plane </a:t>
            </a:r>
            <a:r>
              <a:rPr lang="de-DE" sz="1600" dirty="0" err="1" smtClean="0"/>
              <a:t>of</a:t>
            </a:r>
            <a:r>
              <a:rPr lang="de-DE" sz="1600" dirty="0" smtClean="0"/>
              <a:t> Docker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uns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endParaRPr lang="de-DE" sz="1600" dirty="0" smtClean="0"/>
          </a:p>
          <a:p>
            <a:r>
              <a:rPr lang="de-DE" sz="1600" dirty="0" err="1"/>
              <a:t>p</a:t>
            </a:r>
            <a:r>
              <a:rPr lang="de-DE" sz="1600" dirty="0" err="1" smtClean="0"/>
              <a:t>rocess</a:t>
            </a:r>
            <a:r>
              <a:rPr lang="de-DE" sz="1600" dirty="0" smtClean="0"/>
              <a:t> </a:t>
            </a:r>
            <a:r>
              <a:rPr lang="de-DE" sz="1600" dirty="0" err="1" smtClean="0"/>
              <a:t>within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host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The Docker </a:t>
            </a:r>
            <a:r>
              <a:rPr lang="de-DE" sz="1600" dirty="0" err="1" smtClean="0"/>
              <a:t>daemon</a:t>
            </a:r>
            <a:r>
              <a:rPr lang="de-DE" sz="1600" dirty="0" smtClean="0"/>
              <a:t>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all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s</a:t>
            </a:r>
            <a:r>
              <a:rPr lang="de-DE" sz="1600" dirty="0" smtClean="0"/>
              <a:t> on </a:t>
            </a:r>
            <a:r>
              <a:rPr lang="de-DE" sz="1600" u="sng" dirty="0" err="1" smtClean="0"/>
              <a:t>one</a:t>
            </a:r>
            <a:r>
              <a:rPr lang="de-DE" sz="1600" dirty="0" smtClean="0"/>
              <a:t> host.</a:t>
            </a:r>
          </a:p>
        </p:txBody>
      </p:sp>
      <p:sp>
        <p:nvSpPr>
          <p:cNvPr id="4" name="Rechteck 3"/>
          <p:cNvSpPr/>
          <p:nvPr/>
        </p:nvSpPr>
        <p:spPr>
          <a:xfrm>
            <a:off x="6096000" y="6389390"/>
            <a:ext cx="65723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smtClean="0"/>
              <a:t>Source: </a:t>
            </a:r>
            <a:r>
              <a:rPr lang="de-DE" sz="1400" dirty="0" smtClean="0">
                <a:hlinkClick r:id="rId7"/>
              </a:rPr>
              <a:t>http</a:t>
            </a:r>
            <a:r>
              <a:rPr lang="de-DE" sz="1400" dirty="0">
                <a:hlinkClick r:id="rId7"/>
              </a:rPr>
              <a:t>://</a:t>
            </a:r>
            <a:r>
              <a:rPr lang="de-DE" sz="1400" dirty="0" smtClean="0">
                <a:hlinkClick r:id="rId7"/>
              </a:rPr>
              <a:t>docs.docker.com/engine/introduction/understanding-docker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914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2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Workflow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5" name="Picture 2" descr="http://blog.octo.com/wp-content/uploads/2014/01/docker-st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036" y="778051"/>
            <a:ext cx="6615226" cy="532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3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/>
              <a:t>T</a:t>
            </a:r>
            <a:r>
              <a:rPr lang="de-DE" dirty="0" err="1" smtClean="0"/>
              <a:t>ypical</a:t>
            </a:r>
            <a:r>
              <a:rPr lang="de-DE" dirty="0" smtClean="0"/>
              <a:t> </a:t>
            </a:r>
            <a:r>
              <a:rPr lang="de-DE" dirty="0"/>
              <a:t>W</a:t>
            </a:r>
            <a:r>
              <a:rPr lang="de-DE" dirty="0" smtClean="0"/>
              <a:t>orkflow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35383954"/>
              </p:ext>
            </p:extLst>
          </p:nvPr>
        </p:nvGraphicFramePr>
        <p:xfrm>
          <a:off x="508602" y="1731854"/>
          <a:ext cx="11256678" cy="4566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040007"/>
                <a:gridCol w="621667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image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d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v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volume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mount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-p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&lt;host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:&lt;container-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or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ntrypoint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proces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 a Docker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ground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unte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st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ainer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rypoint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Docker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 a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in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ward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erminal</a:t>
                      </a:r>
                      <a:endParaRPr lang="de-DE" sz="16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l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„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bin/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bash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)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-a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nts all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a =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nning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s</a:t>
                      </a: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docker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 commit &lt;container&gt; </a:t>
                      </a:r>
                      <a:r>
                        <a:rPr lang="en-US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qaware</a:t>
                      </a: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Source Code Pro" panose="020B0509030403020204" pitchFamily="49" charset="0"/>
                          <a:ea typeface="+mn-ea"/>
                          <a:cs typeface="+mn-cs"/>
                        </a:rPr>
                        <a:t>/foo</a:t>
                      </a:r>
                      <a:endParaRPr lang="de-DE" sz="14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e </a:t>
                      </a:r>
                      <a:r>
                        <a:rPr lang="de-DE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iner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de-DE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age</a:t>
                      </a:r>
                      <a:endParaRPr lang="de-DE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kill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</a:p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rmin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(send SIGKILL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)</a:t>
                      </a:r>
                      <a:br>
                        <a:rPr lang="de-DE" sz="1600" dirty="0" smtClean="0"/>
                      </a:br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rm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f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mage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emove </a:t>
                      </a:r>
                      <a:r>
                        <a:rPr lang="de-DE" sz="1600" dirty="0" err="1" smtClean="0"/>
                        <a:t>loc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6955779" y="408415"/>
            <a:ext cx="4804421" cy="107721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Sample </a:t>
            </a:r>
            <a:r>
              <a:rPr lang="de-DE" sz="1600" dirty="0" err="1" smtClean="0"/>
              <a:t>images</a:t>
            </a:r>
            <a:r>
              <a:rPr lang="de-DE" sz="1600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>
                <a:latin typeface="Source Code Pro" panose="020B0509030403020204" pitchFamily="49" charset="0"/>
              </a:rPr>
              <a:t>b</a:t>
            </a:r>
            <a:r>
              <a:rPr lang="de-DE" sz="1600" dirty="0" err="1" smtClean="0">
                <a:latin typeface="Source Code Pro" panose="020B0509030403020204" pitchFamily="49" charset="0"/>
              </a:rPr>
              <a:t>usybox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ini OS (2MB) </a:t>
            </a:r>
            <a:r>
              <a:rPr lang="de-DE" sz="1600" dirty="0" err="1" smtClean="0">
                <a:latin typeface="+mj-lt"/>
              </a:rPr>
              <a:t>for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testing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urposes</a:t>
            </a:r>
            <a:endParaRPr lang="de-DE" sz="1600" dirty="0" smtClean="0"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Source Code Pro" panose="020B0509030403020204" pitchFamily="49" charset="0"/>
              </a:rPr>
              <a:t>alpine: </a:t>
            </a:r>
            <a:r>
              <a:rPr lang="de-DE" sz="1600" dirty="0" smtClean="0">
                <a:latin typeface="+mj-lt"/>
              </a:rPr>
              <a:t>Mini OS (5MB) </a:t>
            </a:r>
            <a:r>
              <a:rPr lang="de-DE" sz="1600" dirty="0" err="1" smtClean="0">
                <a:latin typeface="+mj-lt"/>
              </a:rPr>
              <a:t>with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package</a:t>
            </a:r>
            <a:r>
              <a:rPr lang="de-DE" sz="1600" dirty="0" smtClean="0">
                <a:latin typeface="+mj-lt"/>
              </a:rPr>
              <a:t> </a:t>
            </a:r>
            <a:r>
              <a:rPr lang="de-DE" sz="1600" dirty="0" err="1" smtClean="0">
                <a:latin typeface="+mj-lt"/>
              </a:rPr>
              <a:t>mgr</a:t>
            </a:r>
            <a:r>
              <a:rPr lang="de-DE" sz="1600" dirty="0" smtClean="0">
                <a:latin typeface="+mj-lt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Source Code Pro" panose="020B0509030403020204" pitchFamily="49" charset="0"/>
              </a:rPr>
              <a:t>ubuntu</a:t>
            </a:r>
            <a:r>
              <a:rPr lang="de-DE" sz="1600" dirty="0" smtClean="0">
                <a:latin typeface="Source Code Pro" panose="020B0509030403020204" pitchFamily="49" charset="0"/>
              </a:rPr>
              <a:t>: </a:t>
            </a:r>
            <a:r>
              <a:rPr lang="de-DE" sz="1600" dirty="0" smtClean="0">
                <a:latin typeface="+mj-lt"/>
              </a:rPr>
              <a:t>Maxi OS (188MB)</a:t>
            </a:r>
            <a:endParaRPr lang="de-DE" sz="1600" dirty="0"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29090" y="6329291"/>
            <a:ext cx="96822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ore </a:t>
            </a:r>
            <a:r>
              <a:rPr lang="de-DE" sz="1400" dirty="0" err="1" smtClean="0"/>
              <a:t>commands</a:t>
            </a:r>
            <a:r>
              <a:rPr lang="de-DE" sz="1400" dirty="0" smtClean="0"/>
              <a:t>: </a:t>
            </a:r>
            <a:r>
              <a:rPr lang="de-DE" sz="1400" dirty="0">
                <a:hlinkClick r:id="rId2"/>
              </a:rPr>
              <a:t>https://</a:t>
            </a:r>
            <a:r>
              <a:rPr lang="de-DE" sz="1400" dirty="0" smtClean="0">
                <a:hlinkClick r:id="rId2"/>
              </a:rPr>
              <a:t>coderwall.com/p/2es5jw/docker-cheat-sheet-with-examples</a:t>
            </a:r>
            <a:r>
              <a:rPr lang="de-DE" sz="1400" dirty="0" smtClean="0"/>
              <a:t>, </a:t>
            </a:r>
            <a:r>
              <a:rPr lang="de-DE" sz="1400" dirty="0">
                <a:hlinkClick r:id="rId3"/>
              </a:rPr>
              <a:t>https://</a:t>
            </a:r>
            <a:r>
              <a:rPr lang="de-DE" sz="1400" dirty="0" smtClean="0">
                <a:hlinkClick r:id="rId3"/>
              </a:rPr>
              <a:t>docs.docker.com/reference</a:t>
            </a:r>
            <a:r>
              <a:rPr lang="de-DE" sz="1400" dirty="0" smtClean="0"/>
              <a:t>  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173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iner Troubleshoot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2006490"/>
              </p:ext>
            </p:extLst>
          </p:nvPr>
        </p:nvGraphicFramePr>
        <p:xfrm>
          <a:off x="501228" y="1091525"/>
          <a:ext cx="11056364" cy="264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146972"/>
                <a:gridCol w="690939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Comma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ctio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inspect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metadata</a:t>
                      </a:r>
                      <a:r>
                        <a:rPr lang="de-DE" sz="1600" dirty="0" smtClean="0"/>
                        <a:t> (e.g. IP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logs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syslo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top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ints all </a:t>
                      </a:r>
                      <a:r>
                        <a:rPr lang="de-DE" sz="160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ocess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(like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ps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–a </a:t>
                      </a:r>
                      <a:r>
                        <a:rPr lang="de-DE" sz="1600" baseline="0" dirty="0" err="1" smtClean="0"/>
                        <a:t>withi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exec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–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ti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&lt;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contain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&gt; /bin/sh 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onnect</a:t>
                      </a:r>
                      <a:r>
                        <a:rPr lang="de-DE" sz="1600" baseline="0" dirty="0" smtClean="0"/>
                        <a:t> terminal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nin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dirty="0" err="1" smtClean="0">
                          <a:latin typeface="Source Code Pro" panose="020B0509030403020204" pitchFamily="49" charset="0"/>
                        </a:rPr>
                        <a:t>stats</a:t>
                      </a:r>
                      <a:endParaRPr lang="de-DE" sz="1600" dirty="0" smtClean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hows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runtim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tistics</a:t>
                      </a:r>
                      <a:r>
                        <a:rPr lang="de-DE" sz="1600" baseline="0" dirty="0" smtClean="0"/>
                        <a:t> (e.g. CPU </a:t>
                      </a:r>
                      <a:r>
                        <a:rPr lang="de-DE" sz="1600" baseline="0" dirty="0" err="1" smtClean="0"/>
                        <a:t>usage</a:t>
                      </a:r>
                      <a:r>
                        <a:rPr lang="de-DE" sz="1600" baseline="0" dirty="0" smtClean="0"/>
                        <a:t>, IO </a:t>
                      </a:r>
                      <a:r>
                        <a:rPr lang="de-DE" sz="1600" baseline="0" dirty="0" err="1" smtClean="0"/>
                        <a:t>intensity</a:t>
                      </a:r>
                      <a:r>
                        <a:rPr lang="de-DE" sz="1600" baseline="0" dirty="0" smtClean="0"/>
                        <a:t>, …)</a:t>
                      </a:r>
                      <a:endParaRPr lang="de-DE" sz="160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3085" y="3865518"/>
            <a:ext cx="5469854" cy="267776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616" y="3865518"/>
            <a:ext cx="1120237" cy="40389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501228" y="386551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ltima </a:t>
            </a:r>
            <a:r>
              <a:rPr lang="de-DE" dirty="0" err="1" smtClean="0"/>
              <a:t>ratio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23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riting </a:t>
            </a:r>
            <a:r>
              <a:rPr lang="de-DE" dirty="0" err="1" smtClean="0"/>
              <a:t>Dockerfi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/>
              <a:t>B</a:t>
            </a:r>
            <a:r>
              <a:rPr lang="de-DE" dirty="0" err="1" smtClean="0"/>
              <a:t>uild</a:t>
            </a:r>
            <a:r>
              <a:rPr lang="de-DE" dirty="0" smtClean="0"/>
              <a:t> an Im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2668842" y="1698182"/>
            <a:ext cx="6533322" cy="23083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latin typeface="Source Code Pro" panose="020B0509030403020204" pitchFamily="49" charset="0"/>
              </a:rPr>
              <a:t>FROM </a:t>
            </a:r>
            <a:r>
              <a:rPr lang="de-DE" dirty="0" err="1">
                <a:latin typeface="Source Code Pro" panose="020B0509030403020204" pitchFamily="49" charset="0"/>
              </a:rPr>
              <a:t>ubuntu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MAINTAINER Josef Adersberger, jad@qaware.d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update </a:t>
            </a:r>
          </a:p>
          <a:p>
            <a:r>
              <a:rPr lang="de-DE" dirty="0">
                <a:latin typeface="Source Code Pro" panose="020B0509030403020204" pitchFamily="49" charset="0"/>
              </a:rPr>
              <a:t>RUN </a:t>
            </a:r>
            <a:r>
              <a:rPr lang="de-DE" dirty="0" err="1">
                <a:latin typeface="Source Code Pro" panose="020B0509030403020204" pitchFamily="49" charset="0"/>
              </a:rPr>
              <a:t>apt-get</a:t>
            </a:r>
            <a:r>
              <a:rPr lang="de-DE" dirty="0">
                <a:latin typeface="Source Code Pro" panose="020B0509030403020204" pitchFamily="49" charset="0"/>
              </a:rPr>
              <a:t> --</a:t>
            </a:r>
            <a:r>
              <a:rPr lang="de-DE" dirty="0" err="1">
                <a:latin typeface="Source Code Pro" panose="020B0509030403020204" pitchFamily="49" charset="0"/>
              </a:rPr>
              <a:t>assume-yes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install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ADD https</a:t>
            </a:r>
            <a:r>
              <a:rPr lang="de-DE" dirty="0" smtClean="0">
                <a:latin typeface="Source Code Pro" panose="020B0509030403020204" pitchFamily="49" charset="0"/>
              </a:rPr>
              <a:t>://provisoning.server.de/nginx.conf 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etc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nginx.conf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NTRYPOINT </a:t>
            </a:r>
            <a:r>
              <a:rPr lang="de-DE" dirty="0" smtClean="0">
                <a:latin typeface="Source Code Pro" panose="020B0509030403020204" pitchFamily="49" charset="0"/>
              </a:rPr>
              <a:t>[</a:t>
            </a:r>
            <a:r>
              <a:rPr lang="de-DE" dirty="0" err="1" smtClean="0">
                <a:latin typeface="Source Code Pro" panose="020B0509030403020204" pitchFamily="49" charset="0"/>
              </a:rPr>
              <a:t>nginx</a:t>
            </a:r>
            <a:r>
              <a:rPr lang="de-DE" dirty="0" smtClean="0">
                <a:latin typeface="Source Code Pro" panose="020B0509030403020204" pitchFamily="49" charset="0"/>
              </a:rPr>
              <a:t>]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EXPOSE 80</a:t>
            </a:r>
          </a:p>
        </p:txBody>
      </p:sp>
      <p:sp>
        <p:nvSpPr>
          <p:cNvPr id="7" name="Rechteck 6"/>
          <p:cNvSpPr/>
          <p:nvPr/>
        </p:nvSpPr>
        <p:spPr>
          <a:xfrm>
            <a:off x="2668842" y="4179564"/>
            <a:ext cx="6533322" cy="36933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de-DE" dirty="0" err="1">
                <a:latin typeface="Source Code Pro" panose="020B0509030403020204" pitchFamily="49" charset="0"/>
              </a:rPr>
              <a:t>docker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 –t &lt;</a:t>
            </a:r>
            <a:r>
              <a:rPr lang="de-DE" dirty="0" err="1">
                <a:latin typeface="Source Code Pro" panose="020B0509030403020204" pitchFamily="49" charset="0"/>
              </a:rPr>
              <a:t>ziel_image_name</a:t>
            </a:r>
            <a:r>
              <a:rPr lang="de-DE" dirty="0">
                <a:latin typeface="Source Code Pro" panose="020B0509030403020204" pitchFamily="49" charset="0"/>
              </a:rPr>
              <a:t>&gt; &lt;</a:t>
            </a:r>
            <a:r>
              <a:rPr lang="de-DE" dirty="0" err="1">
                <a:latin typeface="Source Code Pro" panose="020B0509030403020204" pitchFamily="49" charset="0"/>
              </a:rPr>
              <a:t>Dockerfile</a:t>
            </a:r>
            <a:r>
              <a:rPr lang="de-DE" dirty="0">
                <a:latin typeface="Source Code Pro" panose="020B050903040302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91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ockerfil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866274"/>
              </p:ext>
            </p:extLst>
          </p:nvPr>
        </p:nvGraphicFramePr>
        <p:xfrm>
          <a:off x="485640" y="968471"/>
          <a:ext cx="11071952" cy="49987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93994"/>
                <a:gridCol w="7877958"/>
              </a:tblGrid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lemen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eaning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OM &lt;image-name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as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(</a:t>
                      </a:r>
                      <a:r>
                        <a:rPr lang="de-DE" sz="1600" dirty="0" err="1" smtClean="0"/>
                        <a:t>whe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new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mag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eriv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rom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AINTAINER &lt;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ocume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uthor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RUN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ecute a </a:t>
                      </a:r>
                      <a:r>
                        <a:rPr lang="de-DE" sz="1600" dirty="0" err="1" smtClean="0"/>
                        <a:t>shel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i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resul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s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ne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mag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yer</a:t>
                      </a:r>
                      <a:r>
                        <a:rPr lang="de-DE" sz="1600" baseline="0" dirty="0" smtClean="0"/>
                        <a:t> (!)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DD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&lt;</a:t>
                      </a:r>
                      <a:r>
                        <a:rPr lang="de-DE" sz="1600" dirty="0" err="1" smtClean="0"/>
                        <a:t>dest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py</a:t>
                      </a:r>
                      <a:r>
                        <a:rPr lang="de-DE" sz="1600" dirty="0" smtClean="0"/>
                        <a:t> a </a:t>
                      </a:r>
                      <a:r>
                        <a:rPr lang="de-DE" sz="1600" dirty="0" err="1" smtClean="0"/>
                        <a:t>fil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s</a:t>
                      </a:r>
                      <a:r>
                        <a:rPr lang="de-DE" sz="1600" dirty="0" smtClean="0"/>
                        <a:t>. &lt;</a:t>
                      </a:r>
                      <a:r>
                        <a:rPr lang="de-DE" sz="1600" dirty="0" err="1" smtClean="0"/>
                        <a:t>src</a:t>
                      </a:r>
                      <a:r>
                        <a:rPr lang="de-DE" sz="1600" dirty="0" smtClean="0"/>
                        <a:t>&gt; </a:t>
                      </a:r>
                      <a:r>
                        <a:rPr lang="de-DE" sz="1600" dirty="0" err="1" smtClean="0"/>
                        <a:t>can</a:t>
                      </a:r>
                      <a:r>
                        <a:rPr lang="de-DE" sz="1600" dirty="0" smtClean="0"/>
                        <a:t> als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an URL. </a:t>
                      </a:r>
                      <a:r>
                        <a:rPr lang="de-DE" sz="1600" baseline="0" dirty="0" err="1" smtClean="0"/>
                        <a:t>If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src</a:t>
                      </a:r>
                      <a:r>
                        <a:rPr lang="de-DE" sz="1600" baseline="0" dirty="0" smtClean="0"/>
                        <a:t>&gt; </a:t>
                      </a:r>
                      <a:r>
                        <a:rPr lang="de-DE" sz="1600" baseline="0" dirty="0" err="1" smtClean="0"/>
                        <a:t>ref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 TAR-file, </a:t>
                      </a:r>
                      <a:r>
                        <a:rPr lang="de-DE" sz="1600" baseline="0" dirty="0" err="1" smtClean="0"/>
                        <a:t>the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il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utomaticall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get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n-tared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OLUME &lt;container-dir&gt; &lt;host-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unts a host </a:t>
                      </a:r>
                      <a:r>
                        <a:rPr lang="de-DE" sz="1600" dirty="0" err="1" smtClean="0"/>
                        <a:t>directory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V &lt;</a:t>
                      </a:r>
                      <a:r>
                        <a:rPr lang="de-DE" sz="1600" dirty="0" err="1" smtClean="0"/>
                        <a:t>key</a:t>
                      </a:r>
                      <a:r>
                        <a:rPr lang="de-DE" sz="1600" dirty="0" smtClean="0"/>
                        <a:t>&gt;</a:t>
                      </a:r>
                      <a:r>
                        <a:rPr lang="de-DE" sz="1600" baseline="0" dirty="0" smtClean="0"/>
                        <a:t> &lt;</a:t>
                      </a:r>
                      <a:r>
                        <a:rPr lang="de-DE" sz="1600" baseline="0" dirty="0" err="1" smtClean="0"/>
                        <a:t>value</a:t>
                      </a:r>
                      <a:r>
                        <a:rPr lang="de-DE" sz="1600" baseline="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. This </a:t>
                      </a:r>
                      <a:r>
                        <a:rPr lang="de-DE" sz="1600" baseline="0" dirty="0" err="1" smtClean="0"/>
                        <a:t>environment</a:t>
                      </a:r>
                      <a:r>
                        <a:rPr lang="de-DE" sz="1600" baseline="0" dirty="0" smtClean="0"/>
                        <a:t> variable </a:t>
                      </a:r>
                      <a:r>
                        <a:rPr lang="de-DE" sz="1600" baseline="0" dirty="0" err="1" smtClean="0"/>
                        <a:t>ca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verwritten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e</a:t>
                      </a:r>
                      <a:r>
                        <a:rPr lang="de-DE" sz="1600" baseline="0" dirty="0" smtClean="0"/>
                        <a:t> –e </a:t>
                      </a:r>
                      <a:r>
                        <a:rPr lang="de-DE" sz="1600" baseline="0" dirty="0" err="1" smtClean="0"/>
                        <a:t>comm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n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r>
                        <a:rPr lang="de-DE" sz="1600" baseline="0" dirty="0" smtClean="0"/>
                        <a:t>.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NTRYPOINT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he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ed</a:t>
                      </a:r>
                      <a:r>
                        <a:rPr lang="de-DE" sz="1600" baseline="0" dirty="0" smtClean="0"/>
                        <a:t> at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tartup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MD &lt;</a:t>
                      </a:r>
                      <a:r>
                        <a:rPr lang="de-DE" sz="1600" dirty="0" err="1" smtClean="0"/>
                        <a:t>command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s </a:t>
                      </a:r>
                      <a:r>
                        <a:rPr lang="de-DE" sz="1600" dirty="0" err="1" smtClean="0"/>
                        <a:t>to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ntrypoin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proc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f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n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rameter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as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docker</a:t>
                      </a:r>
                      <a:r>
                        <a:rPr lang="de-DE" sz="1600" baseline="0" dirty="0" smtClean="0">
                          <a:latin typeface="Source Code Pro" panose="020B0509030403020204" pitchFamily="49" charset="0"/>
                        </a:rPr>
                        <a:t> </a:t>
                      </a:r>
                      <a:r>
                        <a:rPr lang="de-DE" sz="1600" baseline="0" dirty="0" err="1" smtClean="0">
                          <a:latin typeface="Source Code Pro" panose="020B0509030403020204" pitchFamily="49" charset="0"/>
                        </a:rPr>
                        <a:t>run</a:t>
                      </a:r>
                      <a:endParaRPr lang="de-DE" sz="1600" dirty="0">
                        <a:latin typeface="Source Code Pro" panose="020B0509030403020204" pitchFamily="49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ORKDIR &lt;dir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working</a:t>
                      </a:r>
                      <a:r>
                        <a:rPr lang="de-DE" sz="1600" dirty="0" smtClean="0"/>
                        <a:t> dir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follow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XPOSE &lt;</a:t>
                      </a:r>
                      <a:r>
                        <a:rPr lang="de-DE" sz="1600" dirty="0" err="1" smtClean="0"/>
                        <a:t>port</a:t>
                      </a:r>
                      <a:r>
                        <a:rPr lang="de-DE" sz="1600" dirty="0" smtClean="0"/>
                        <a:t>&gt;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Informs</a:t>
                      </a:r>
                      <a:r>
                        <a:rPr lang="de-DE" sz="1600" baseline="0" dirty="0" smtClean="0"/>
                        <a:t> Docker </a:t>
                      </a:r>
                      <a:r>
                        <a:rPr lang="de-DE" sz="1600" baseline="0" dirty="0" err="1" smtClean="0"/>
                        <a:t>that</a:t>
                      </a:r>
                      <a:r>
                        <a:rPr lang="de-DE" sz="1600" baseline="0" dirty="0" smtClean="0"/>
                        <a:t> a </a:t>
                      </a:r>
                      <a:r>
                        <a:rPr lang="de-DE" sz="1600" baseline="0" dirty="0" err="1" smtClean="0"/>
                        <a:t>contain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istens</a:t>
                      </a:r>
                      <a:r>
                        <a:rPr lang="de-DE" sz="1600" baseline="0" dirty="0" smtClean="0"/>
                        <a:t> on a </a:t>
                      </a:r>
                      <a:r>
                        <a:rPr lang="de-DE" sz="1600" baseline="0" dirty="0" err="1" smtClean="0"/>
                        <a:t>specif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hi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ort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shoul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expos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the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ntainers</a:t>
                      </a:r>
                      <a:endParaRPr lang="de-DE" sz="16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USER &lt;</a:t>
                      </a:r>
                      <a:r>
                        <a:rPr lang="de-DE" sz="1600" dirty="0" err="1" smtClean="0"/>
                        <a:t>name</a:t>
                      </a:r>
                      <a:r>
                        <a:rPr lang="de-DE" sz="1600" dirty="0" smtClean="0"/>
                        <a:t>&gt;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ets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us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for</a:t>
                      </a:r>
                      <a:r>
                        <a:rPr lang="de-DE" sz="1600" dirty="0" smtClean="0"/>
                        <a:t> all </a:t>
                      </a:r>
                      <a:r>
                        <a:rPr lang="de-DE" sz="1600" dirty="0" err="1" smtClean="0"/>
                        <a:t>contain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mands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415972" y="6180345"/>
            <a:ext cx="44403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err="1" smtClean="0"/>
              <a:t>see</a:t>
            </a:r>
            <a:r>
              <a:rPr lang="de-DE" sz="1400" dirty="0" smtClean="0"/>
              <a:t>: </a:t>
            </a:r>
            <a:r>
              <a:rPr lang="de-DE" sz="1400" dirty="0" smtClean="0">
                <a:hlinkClick r:id="rId3"/>
              </a:rPr>
              <a:t>http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docs.docker.com/engine/reference/builder</a:t>
            </a:r>
            <a:r>
              <a:rPr lang="de-DE" sz="1400" dirty="0"/>
              <a:t> 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01077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0" name="Group 29"/>
          <p:cNvGrpSpPr/>
          <p:nvPr/>
        </p:nvGrpSpPr>
        <p:grpSpPr>
          <a:xfrm>
            <a:off x="4269207" y="1885448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86361" y="3088316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380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atacoda</a:t>
            </a:r>
            <a:r>
              <a:rPr lang="de-DE" dirty="0" smtClean="0"/>
              <a:t>: A 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ining </a:t>
            </a:r>
            <a:r>
              <a:rPr lang="de-DE" dirty="0"/>
              <a:t>E</a:t>
            </a:r>
            <a:r>
              <a:rPr lang="de-DE" dirty="0" smtClean="0"/>
              <a:t>nvironment </a:t>
            </a:r>
            <a:r>
              <a:rPr lang="de-DE" dirty="0" err="1" smtClean="0"/>
              <a:t>for</a:t>
            </a:r>
            <a:r>
              <a:rPr lang="de-DE" dirty="0" smtClean="0"/>
              <a:t> Docker.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39313"/>
            <a:ext cx="12192000" cy="605721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017852" y="2820265"/>
            <a:ext cx="3942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https://katacoda.com/courses/docker</a:t>
            </a:r>
          </a:p>
        </p:txBody>
      </p:sp>
    </p:spTree>
    <p:extLst>
      <p:ext uri="{BB962C8B-B14F-4D97-AF65-F5344CB8AC3E}">
        <p14:creationId xmlns:p14="http://schemas.microsoft.com/office/powerpoint/2010/main" val="38562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eggiemonk/awesome-docker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468" y="1207008"/>
            <a:ext cx="1855356" cy="49377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4019" y="1207008"/>
            <a:ext cx="2048483" cy="49377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99" y="1207008"/>
            <a:ext cx="2001173" cy="4937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869" y="1188720"/>
            <a:ext cx="1965722" cy="4956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0062" y="1188720"/>
            <a:ext cx="1965593" cy="49560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006966" y="341985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4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est Practi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9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 </a:t>
            </a:r>
            <a:r>
              <a:rPr lang="de-DE" dirty="0" err="1" smtClean="0"/>
              <a:t>of</a:t>
            </a:r>
            <a:r>
              <a:rPr lang="de-DE" dirty="0" smtClean="0"/>
              <a:t> Best Practic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A Docker-Build must be repeatable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Concatenate associated commands in the `RUN` command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Remove temporary fi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Publish important Ports with `EXPOSE`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Define Environment Variables</a:t>
            </a:r>
          </a:p>
          <a:p>
            <a:pPr marL="456538" indent="-45720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One Image for all Environments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Only one image per Version in Docker-Registry</a:t>
            </a:r>
          </a:p>
          <a:p>
            <a:pPr marL="709200" lvl="1" indent="-457200"/>
            <a:r>
              <a:rPr lang="en-GB" dirty="0" smtClean="0">
                <a:solidFill>
                  <a:schemeClr val="tx1"/>
                </a:solidFill>
              </a:rPr>
              <a:t>Environment configuration with Environment variables, Configuration files per volu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Build</a:t>
            </a:r>
            <a:r>
              <a:rPr lang="de-DE" dirty="0" smtClean="0"/>
              <a:t> mus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peatab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uild</a:t>
            </a:r>
            <a:r>
              <a:rPr lang="de-DE" dirty="0" smtClean="0"/>
              <a:t> at a </a:t>
            </a:r>
            <a:r>
              <a:rPr lang="de-DE" dirty="0" err="1" smtClean="0"/>
              <a:t>later</a:t>
            </a:r>
            <a:r>
              <a:rPr lang="de-DE" dirty="0" smtClean="0"/>
              <a:t> time must </a:t>
            </a:r>
            <a:r>
              <a:rPr lang="de-DE" dirty="0" err="1" smtClean="0"/>
              <a:t>produce</a:t>
            </a:r>
            <a:r>
              <a:rPr lang="de-DE" dirty="0" smtClean="0"/>
              <a:t> an </a:t>
            </a:r>
            <a:r>
              <a:rPr lang="de-DE" dirty="0" err="1" smtClean="0"/>
              <a:t>identical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 smtClean="0"/>
          </a:p>
          <a:p>
            <a:r>
              <a:rPr lang="de-DE" dirty="0" smtClean="0"/>
              <a:t>Keep car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to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posito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kerfile</a:t>
            </a:r>
            <a:endParaRPr lang="de-DE" dirty="0" smtClean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LATEST Tag, </a:t>
            </a:r>
            <a:r>
              <a:rPr lang="de-DE" dirty="0" err="1" smtClean="0"/>
              <a:t>use</a:t>
            </a:r>
            <a:r>
              <a:rPr lang="de-DE" dirty="0" smtClean="0"/>
              <a:t> explicit </a:t>
            </a:r>
            <a:r>
              <a:rPr lang="de-DE" dirty="0" err="1" smtClean="0"/>
              <a:t>version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endParaRPr lang="de-DE" dirty="0" smtClean="0"/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installing</a:t>
            </a:r>
            <a:r>
              <a:rPr lang="de-DE" dirty="0" smtClean="0"/>
              <a:t> a </a:t>
            </a:r>
            <a:r>
              <a:rPr lang="de-DE" dirty="0"/>
              <a:t>S</a:t>
            </a:r>
            <a:r>
              <a:rPr lang="de-DE" dirty="0" smtClean="0"/>
              <a:t>oftwa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smtClean="0"/>
              <a:t>ruby</a:t>
            </a:r>
            <a:r>
              <a:rPr lang="en-US" sz="1600" b="1" dirty="0" smtClean="0">
                <a:solidFill>
                  <a:srgbClr val="FF0000"/>
                </a:solidFill>
              </a:rPr>
              <a:t>1.9.1</a:t>
            </a: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7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ncatenate </a:t>
            </a:r>
            <a:r>
              <a:rPr lang="en-GB" dirty="0" smtClean="0">
                <a:solidFill>
                  <a:schemeClr val="tx1"/>
                </a:solidFill>
              </a:rPr>
              <a:t>associated </a:t>
            </a:r>
            <a:r>
              <a:rPr lang="en-GB" dirty="0">
                <a:solidFill>
                  <a:schemeClr val="tx1"/>
                </a:solidFill>
              </a:rPr>
              <a:t>commands in the `RUN` command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Every RUN </a:t>
            </a:r>
            <a:r>
              <a:rPr lang="de-DE" dirty="0" err="1" smtClean="0"/>
              <a:t>command</a:t>
            </a:r>
            <a:r>
              <a:rPr lang="de-DE" dirty="0" smtClean="0"/>
              <a:t> </a:t>
            </a:r>
            <a:r>
              <a:rPr lang="de-DE" dirty="0" err="1" smtClean="0"/>
              <a:t>produces</a:t>
            </a:r>
            <a:r>
              <a:rPr lang="de-DE" dirty="0" smtClean="0"/>
              <a:t> a Layer</a:t>
            </a:r>
          </a:p>
          <a:p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uildu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ibuting</a:t>
            </a:r>
            <a:r>
              <a:rPr lang="de-DE" dirty="0" smtClean="0"/>
              <a:t> </a:t>
            </a:r>
            <a:r>
              <a:rPr lang="de-DE" dirty="0" err="1" smtClean="0"/>
              <a:t>images</a:t>
            </a:r>
            <a:endParaRPr lang="de-DE" dirty="0" smtClean="0"/>
          </a:p>
          <a:p>
            <a:r>
              <a:rPr lang="de-DE" dirty="0" err="1" smtClean="0"/>
              <a:t>Concatenate</a:t>
            </a:r>
            <a:r>
              <a:rPr lang="de-DE" dirty="0" smtClean="0"/>
              <a:t> </a:t>
            </a:r>
            <a:r>
              <a:rPr lang="de-DE" dirty="0" err="1" smtClean="0"/>
              <a:t>command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\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4177237"/>
            <a:ext cx="465091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RUN </a:t>
            </a:r>
            <a:r>
              <a:rPr lang="en-US" sz="1600" dirty="0"/>
              <a:t>apt-get update &amp;&amp; apt-get install -y </a:t>
            </a:r>
            <a:r>
              <a:rPr lang="en-US" sz="1600" dirty="0" err="1"/>
              <a:t>wget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\</a:t>
            </a:r>
          </a:p>
          <a:p>
            <a:r>
              <a:rPr lang="en-US" sz="1600" dirty="0" smtClean="0"/>
              <a:t>         </a:t>
            </a:r>
            <a:r>
              <a:rPr lang="de-DE" sz="1600" dirty="0" err="1" smtClean="0"/>
              <a:t>git</a:t>
            </a:r>
            <a:r>
              <a:rPr lang="de-DE" sz="1600" dirty="0" smtClean="0"/>
              <a:t>-core=1:1.9.1-1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subversion</a:t>
            </a:r>
            <a:r>
              <a:rPr lang="de-DE" sz="1600" dirty="0" smtClean="0"/>
              <a:t>=1.8.8-1ubuntu3.2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ruby</a:t>
            </a:r>
            <a:r>
              <a:rPr lang="de-DE" sz="1600" dirty="0" smtClean="0"/>
              <a:t>=1:1.9.3.4 </a:t>
            </a:r>
            <a:r>
              <a:rPr lang="de-DE" sz="1600" dirty="0"/>
              <a:t>&amp;&amp; </a:t>
            </a:r>
            <a:r>
              <a:rPr lang="de-DE" sz="1600" b="1" dirty="0">
                <a:solidFill>
                  <a:srgbClr val="FF0000"/>
                </a:solidFill>
              </a:rPr>
              <a:t>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apt-get</a:t>
            </a:r>
            <a:r>
              <a:rPr lang="de-DE" sz="1600" dirty="0" smtClean="0"/>
              <a:t> </a:t>
            </a:r>
            <a:r>
              <a:rPr lang="de-DE" sz="1600" dirty="0"/>
              <a:t>clean</a:t>
            </a:r>
            <a:endParaRPr lang="de-DE" sz="1600" dirty="0">
              <a:latin typeface="Source Code Pro" panose="020B050903040302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87256" y="3578901"/>
            <a:ext cx="4378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Software </a:t>
            </a:r>
            <a:r>
              <a:rPr lang="de-DE" dirty="0" err="1" smtClean="0"/>
              <a:t>packag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7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move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Remove all </a:t>
            </a:r>
            <a:r>
              <a:rPr lang="de-DE" dirty="0" err="1" smtClean="0"/>
              <a:t>temporary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Docker Images</a:t>
            </a:r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endParaRPr lang="de-DE" dirty="0" smtClean="0"/>
          </a:p>
          <a:p>
            <a:r>
              <a:rPr lang="de-DE" dirty="0" err="1" smtClean="0"/>
              <a:t>Don‘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b="1" dirty="0" smtClean="0"/>
              <a:t>clean</a:t>
            </a:r>
            <a:r>
              <a:rPr lang="de-DE" dirty="0" smtClean="0"/>
              <a:t> </a:t>
            </a:r>
            <a:r>
              <a:rPr lang="de-DE" dirty="0" err="1" smtClean="0"/>
              <a:t>command</a:t>
            </a:r>
            <a:r>
              <a:rPr lang="de-DE" dirty="0" smtClean="0"/>
              <a:t> in a separate RUN </a:t>
            </a:r>
            <a:r>
              <a:rPr lang="de-DE" dirty="0" err="1" smtClean="0"/>
              <a:t>command</a:t>
            </a:r>
            <a:r>
              <a:rPr lang="de-DE" dirty="0" smtClean="0"/>
              <a:t>  (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lean a different Layer)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50861" y="5054185"/>
            <a:ext cx="4650913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RUN yum -y install mypackage1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dirty="0"/>
              <a:t>-y </a:t>
            </a:r>
            <a:r>
              <a:rPr lang="de-DE" sz="1600" dirty="0" err="1"/>
              <a:t>install</a:t>
            </a:r>
            <a:r>
              <a:rPr lang="de-DE" sz="1600" dirty="0"/>
              <a:t> mypackage2 &amp;&amp; \</a:t>
            </a:r>
          </a:p>
          <a:p>
            <a:r>
              <a:rPr lang="de-DE" sz="1600" dirty="0" smtClean="0"/>
              <a:t>         </a:t>
            </a:r>
            <a:r>
              <a:rPr lang="de-DE" sz="1600" dirty="0" err="1" smtClean="0"/>
              <a:t>yum</a:t>
            </a:r>
            <a:r>
              <a:rPr lang="de-DE" sz="1600" dirty="0" smtClean="0"/>
              <a:t> </a:t>
            </a:r>
            <a:r>
              <a:rPr lang="de-DE" sz="1600" b="1" dirty="0">
                <a:solidFill>
                  <a:srgbClr val="FF0000"/>
                </a:solidFill>
              </a:rPr>
              <a:t>clean all -y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95752" y="4455849"/>
            <a:ext cx="436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 </a:t>
            </a:r>
            <a:r>
              <a:rPr lang="de-DE" dirty="0" err="1" smtClean="0"/>
              <a:t>of</a:t>
            </a:r>
            <a:r>
              <a:rPr lang="de-DE" dirty="0" smtClean="0"/>
              <a:t> a Linux Package </a:t>
            </a:r>
            <a:r>
              <a:rPr lang="de-DE" dirty="0" err="1" smtClean="0"/>
              <a:t>with</a:t>
            </a:r>
            <a:r>
              <a:rPr lang="de-DE" dirty="0" smtClean="0"/>
              <a:t> Y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332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blish important Ports with `</a:t>
            </a:r>
            <a:r>
              <a:rPr lang="en-GB" dirty="0" smtClean="0">
                <a:solidFill>
                  <a:schemeClr val="tx1"/>
                </a:solidFill>
              </a:rPr>
              <a:t>EXPOS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`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EXPOSE makes a Port accessible for the host system or other containers</a:t>
            </a:r>
          </a:p>
          <a:p>
            <a:r>
              <a:rPr lang="en-GB" dirty="0" smtClean="0"/>
              <a:t>Exposed Ports </a:t>
            </a:r>
          </a:p>
          <a:p>
            <a:pPr lvl="1"/>
            <a:r>
              <a:rPr lang="en-GB" dirty="0" smtClean="0"/>
              <a:t>are shown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s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dirty="0" smtClean="0"/>
              <a:t>command </a:t>
            </a:r>
          </a:p>
          <a:p>
            <a:pPr lvl="1"/>
            <a:r>
              <a:rPr lang="en-GB" dirty="0" smtClean="0"/>
              <a:t>are executed in the image meta data by the </a:t>
            </a:r>
            <a:r>
              <a:rPr lang="en-GB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ker</a:t>
            </a: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spect </a:t>
            </a:r>
            <a:r>
              <a:rPr lang="en-GB" dirty="0" smtClean="0"/>
              <a:t>command</a:t>
            </a:r>
          </a:p>
          <a:p>
            <a:pPr lvl="1"/>
            <a:r>
              <a:rPr lang="en-GB" dirty="0" smtClean="0"/>
              <a:t>will be connected automatically by linked containers</a:t>
            </a:r>
          </a:p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668864" y="4674022"/>
            <a:ext cx="646161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</a:rPr>
              <a:t>EXPOSE</a:t>
            </a:r>
            <a:r>
              <a:rPr lang="en-US" sz="1600" dirty="0" smtClean="0"/>
              <a:t>  12340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endParaRPr lang="de-DE" sz="1600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5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efine Environment Variables</a:t>
            </a:r>
            <a:br>
              <a:rPr lang="en-GB" dirty="0">
                <a:solidFill>
                  <a:schemeClr val="tx1"/>
                </a:solidFill>
              </a:rPr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8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Visible in </a:t>
            </a:r>
            <a:r>
              <a:rPr lang="de-DE" dirty="0" err="1" smtClean="0"/>
              <a:t>Dockerfile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Excecution</a:t>
            </a:r>
            <a:endParaRPr lang="de-DE" dirty="0" smtClean="0"/>
          </a:p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overwritte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ontainer</a:t>
            </a:r>
          </a:p>
        </p:txBody>
      </p:sp>
      <p:sp>
        <p:nvSpPr>
          <p:cNvPr id="5" name="Rechteck 4"/>
          <p:cNvSpPr/>
          <p:nvPr/>
        </p:nvSpPr>
        <p:spPr>
          <a:xfrm>
            <a:off x="2845342" y="4132863"/>
            <a:ext cx="4650913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JAVA_HOME </a:t>
            </a:r>
            <a:r>
              <a:rPr lang="de-DE" sz="1600" dirty="0"/>
              <a:t>/</a:t>
            </a:r>
            <a:r>
              <a:rPr lang="de-DE" sz="1600" dirty="0" err="1"/>
              <a:t>opt</a:t>
            </a:r>
            <a:r>
              <a:rPr lang="de-DE" sz="1600" dirty="0"/>
              <a:t>/</a:t>
            </a:r>
            <a:r>
              <a:rPr lang="de-DE" sz="1600" dirty="0" err="1"/>
              <a:t>java-oracle</a:t>
            </a:r>
            <a:r>
              <a:rPr lang="de-DE" sz="1600" dirty="0"/>
              <a:t>/jdk1.8.0_92</a:t>
            </a:r>
          </a:p>
          <a:p>
            <a:r>
              <a:rPr lang="de-DE" sz="1600" b="1" dirty="0" smtClean="0">
                <a:solidFill>
                  <a:srgbClr val="FF0000"/>
                </a:solidFill>
              </a:rPr>
              <a:t>ENV</a:t>
            </a:r>
            <a:r>
              <a:rPr lang="de-DE" sz="1600" dirty="0" smtClean="0"/>
              <a:t> </a:t>
            </a:r>
            <a:r>
              <a:rPr lang="de-DE" sz="1600" dirty="0"/>
              <a:t>MAVEN_HOME /</a:t>
            </a:r>
            <a:r>
              <a:rPr lang="de-DE" sz="1600" dirty="0" err="1"/>
              <a:t>usr</a:t>
            </a:r>
            <a:r>
              <a:rPr lang="de-DE" sz="1600" dirty="0"/>
              <a:t>/</a:t>
            </a:r>
            <a:r>
              <a:rPr lang="de-DE" sz="1600" dirty="0" err="1"/>
              <a:t>share</a:t>
            </a:r>
            <a:r>
              <a:rPr lang="de-DE" sz="1600" dirty="0"/>
              <a:t>/</a:t>
            </a:r>
            <a:r>
              <a:rPr lang="de-DE" sz="1600" dirty="0" err="1"/>
              <a:t>maven</a:t>
            </a:r>
            <a:endParaRPr lang="de-DE" sz="1600" b="1" dirty="0">
              <a:solidFill>
                <a:srgbClr val="FF0000"/>
              </a:solidFill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0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0" name="Rectangle 39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1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12"/>
          <p:cNvSpPr txBox="1"/>
          <p:nvPr/>
        </p:nvSpPr>
        <p:spPr>
          <a:xfrm>
            <a:off x="4074922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6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9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50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1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2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53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56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13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rdware vs. OS </a:t>
            </a:r>
            <a:r>
              <a:rPr lang="de-DE" dirty="0" err="1" smtClean="0">
                <a:solidFill>
                  <a:schemeClr val="tx1"/>
                </a:solidFill>
              </a:rPr>
              <a:t>Virtualiz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188691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8" name="Rechteck 7"/>
          <p:cNvSpPr/>
          <p:nvPr/>
        </p:nvSpPr>
        <p:spPr>
          <a:xfrm>
            <a:off x="1188691" y="3905525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rtual Hardware</a:t>
            </a:r>
          </a:p>
        </p:txBody>
      </p:sp>
      <p:sp>
        <p:nvSpPr>
          <p:cNvPr id="9" name="Rechteck 8"/>
          <p:cNvSpPr/>
          <p:nvPr/>
        </p:nvSpPr>
        <p:spPr>
          <a:xfrm>
            <a:off x="1188691" y="3270206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0" name="Rechteck 9"/>
          <p:cNvSpPr/>
          <p:nvPr/>
        </p:nvSpPr>
        <p:spPr>
          <a:xfrm>
            <a:off x="1188691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1" name="Rechteck 10"/>
          <p:cNvSpPr/>
          <p:nvPr/>
        </p:nvSpPr>
        <p:spPr>
          <a:xfrm>
            <a:off x="1188691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52068" y="4540843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al Hardwar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552068" y="3905525"/>
            <a:ext cx="2895600" cy="566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(Virtual Hardware)</a:t>
            </a:r>
          </a:p>
        </p:txBody>
      </p:sp>
      <p:sp>
        <p:nvSpPr>
          <p:cNvPr id="14" name="Rechteck 13"/>
          <p:cNvSpPr/>
          <p:nvPr/>
        </p:nvSpPr>
        <p:spPr>
          <a:xfrm>
            <a:off x="7552068" y="3270206"/>
            <a:ext cx="2895600" cy="566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</a:t>
            </a:r>
          </a:p>
        </p:txBody>
      </p:sp>
      <p:sp>
        <p:nvSpPr>
          <p:cNvPr id="15" name="Rechteck 14"/>
          <p:cNvSpPr/>
          <p:nvPr/>
        </p:nvSpPr>
        <p:spPr>
          <a:xfrm>
            <a:off x="7552068" y="2634887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S Libraries</a:t>
            </a:r>
          </a:p>
        </p:txBody>
      </p:sp>
      <p:sp>
        <p:nvSpPr>
          <p:cNvPr id="16" name="Rechteck 15"/>
          <p:cNvSpPr/>
          <p:nvPr/>
        </p:nvSpPr>
        <p:spPr>
          <a:xfrm>
            <a:off x="7552068" y="1999568"/>
            <a:ext cx="2895600" cy="566057"/>
          </a:xfrm>
          <a:prstGeom prst="rect">
            <a:avLst/>
          </a:prstGeom>
          <a:solidFill>
            <a:srgbClr val="00B0F0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9" name="Pfeil nach unten 18"/>
          <p:cNvSpPr/>
          <p:nvPr/>
        </p:nvSpPr>
        <p:spPr>
          <a:xfrm>
            <a:off x="1188690" y="4392160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33368" y="4339590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HS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Pfeil nach unten 20"/>
          <p:cNvSpPr/>
          <p:nvPr/>
        </p:nvSpPr>
        <p:spPr>
          <a:xfrm>
            <a:off x="7552067" y="3118347"/>
            <a:ext cx="2895601" cy="293929"/>
          </a:xfrm>
          <a:prstGeom prst="down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8720191" y="3065777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CI*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284095" y="1114687"/>
            <a:ext cx="2745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ardware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7986288" y="1166447"/>
            <a:ext cx="2027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OS </a:t>
            </a:r>
            <a:r>
              <a:rPr lang="de-DE" b="1" dirty="0" err="1" smtClean="0"/>
              <a:t>Virtualization</a:t>
            </a:r>
            <a:endParaRPr lang="de-DE" b="1" dirty="0"/>
          </a:p>
        </p:txBody>
      </p:sp>
      <p:sp>
        <p:nvSpPr>
          <p:cNvPr id="25" name="Geschweifte Klammer rechts 24"/>
          <p:cNvSpPr/>
          <p:nvPr/>
        </p:nvSpPr>
        <p:spPr>
          <a:xfrm>
            <a:off x="4333639" y="2019254"/>
            <a:ext cx="202282" cy="2452328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rechts 26"/>
          <p:cNvSpPr/>
          <p:nvPr/>
        </p:nvSpPr>
        <p:spPr>
          <a:xfrm>
            <a:off x="4333639" y="4524256"/>
            <a:ext cx="202282" cy="58264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Geschweifte Klammer rechts 27"/>
          <p:cNvSpPr/>
          <p:nvPr/>
        </p:nvSpPr>
        <p:spPr>
          <a:xfrm flipH="1">
            <a:off x="7040301" y="2019254"/>
            <a:ext cx="158990" cy="1157872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7039628" y="3265310"/>
            <a:ext cx="166919" cy="1841589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/>
          <p:cNvSpPr txBox="1"/>
          <p:nvPr/>
        </p:nvSpPr>
        <p:spPr>
          <a:xfrm>
            <a:off x="5002114" y="2756417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rivate </a:t>
            </a:r>
            <a:r>
              <a:rPr lang="de-DE" dirty="0" err="1" smtClean="0"/>
              <a:t>Copy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4650283" y="4403106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hared</a:t>
            </a:r>
            <a:r>
              <a:rPr lang="de-DE" dirty="0" smtClean="0"/>
              <a:t> Resources</a:t>
            </a:r>
            <a:endParaRPr lang="de-DE" dirty="0"/>
          </a:p>
        </p:txBody>
      </p:sp>
      <p:cxnSp>
        <p:nvCxnSpPr>
          <p:cNvPr id="33" name="Gerader Verbinder 32"/>
          <p:cNvCxnSpPr>
            <a:stCxn id="25" idx="1"/>
            <a:endCxn id="30" idx="1"/>
          </p:cNvCxnSpPr>
          <p:nvPr/>
        </p:nvCxnSpPr>
        <p:spPr>
          <a:xfrm flipV="1">
            <a:off x="4535921" y="2941083"/>
            <a:ext cx="466193" cy="304335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>
            <a:stCxn id="30" idx="3"/>
            <a:endCxn id="28" idx="1"/>
          </p:cNvCxnSpPr>
          <p:nvPr/>
        </p:nvCxnSpPr>
        <p:spPr>
          <a:xfrm flipV="1">
            <a:off x="6507654" y="2598190"/>
            <a:ext cx="532647" cy="342893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>
            <a:stCxn id="27" idx="1"/>
            <a:endCxn id="31" idx="1"/>
          </p:cNvCxnSpPr>
          <p:nvPr/>
        </p:nvCxnSpPr>
        <p:spPr>
          <a:xfrm flipV="1">
            <a:off x="4535921" y="4587772"/>
            <a:ext cx="114362" cy="22780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>
            <a:stCxn id="31" idx="3"/>
            <a:endCxn id="29" idx="1"/>
          </p:cNvCxnSpPr>
          <p:nvPr/>
        </p:nvCxnSpPr>
        <p:spPr>
          <a:xfrm flipV="1">
            <a:off x="6745728" y="4186105"/>
            <a:ext cx="293900" cy="40166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7045011" y="5281109"/>
            <a:ext cx="47151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Less</a:t>
            </a:r>
            <a:r>
              <a:rPr lang="de-DE" dirty="0" smtClean="0"/>
              <a:t> </a:t>
            </a: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ivate </a:t>
            </a:r>
            <a:r>
              <a:rPr lang="de-DE" dirty="0" err="1" smtClean="0"/>
              <a:t>cop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Near</a:t>
            </a:r>
            <a:r>
              <a:rPr lang="de-DE" dirty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overhead</a:t>
            </a:r>
            <a:r>
              <a:rPr lang="de-DE" dirty="0" smtClean="0"/>
              <a:t> (RAM, CPU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hort </a:t>
            </a:r>
            <a:r>
              <a:rPr lang="de-DE" dirty="0" err="1" smtClean="0"/>
              <a:t>start-up</a:t>
            </a:r>
            <a:r>
              <a:rPr lang="de-DE" dirty="0" smtClean="0"/>
              <a:t> time (~ tim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lauch</a:t>
            </a:r>
            <a:r>
              <a:rPr lang="de-DE" dirty="0" smtClean="0"/>
              <a:t> a </a:t>
            </a:r>
            <a:r>
              <a:rPr lang="de-DE" dirty="0" err="1" smtClean="0"/>
              <a:t>process</a:t>
            </a:r>
            <a:r>
              <a:rPr lang="de-DE" dirty="0"/>
              <a:t>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1256397" y="524198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Stronger</a:t>
            </a:r>
            <a:r>
              <a:rPr lang="de-DE" dirty="0" smtClean="0"/>
              <a:t> Isolatio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97733" y="272659"/>
            <a:ext cx="2725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*) HSI = Hardware Software Interface</a:t>
            </a:r>
          </a:p>
          <a:p>
            <a:r>
              <a:rPr lang="de-DE" sz="1200" dirty="0" smtClean="0"/>
              <a:t>    SCI = System Call Interface</a:t>
            </a: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 rot="16200000">
            <a:off x="3372989" y="3165673"/>
            <a:ext cx="17706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endParaRPr lang="de-DE" dirty="0"/>
          </a:p>
        </p:txBody>
      </p:sp>
      <p:sp>
        <p:nvSpPr>
          <p:cNvPr id="35" name="Textfeld 34"/>
          <p:cNvSpPr txBox="1"/>
          <p:nvPr/>
        </p:nvSpPr>
        <p:spPr>
          <a:xfrm rot="16200000">
            <a:off x="6735494" y="24238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608003" y="1535779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Hardware</a:t>
            </a:r>
            <a:endParaRPr lang="de-DE" i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171436" y="1530253"/>
            <a:ext cx="5233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Isolated</a:t>
            </a:r>
            <a:r>
              <a:rPr lang="de-DE" i="1" dirty="0" smtClean="0"/>
              <a:t> NW-interface, </a:t>
            </a:r>
            <a:r>
              <a:rPr lang="de-DE" i="1" dirty="0" err="1" smtClean="0"/>
              <a:t>process</a:t>
            </a:r>
            <a:r>
              <a:rPr lang="de-DE" i="1" dirty="0" smtClean="0"/>
              <a:t> </a:t>
            </a:r>
            <a:r>
              <a:rPr lang="de-DE" i="1" dirty="0" err="1" smtClean="0"/>
              <a:t>space</a:t>
            </a:r>
            <a:r>
              <a:rPr lang="de-DE" i="1" dirty="0" smtClean="0"/>
              <a:t>, </a:t>
            </a:r>
            <a:r>
              <a:rPr lang="de-DE" i="1" dirty="0" err="1" smtClean="0"/>
              <a:t>file</a:t>
            </a:r>
            <a:r>
              <a:rPr lang="de-DE" i="1" dirty="0" smtClean="0"/>
              <a:t> </a:t>
            </a:r>
            <a:r>
              <a:rPr lang="de-DE" i="1" dirty="0" err="1" smtClean="0"/>
              <a:t>system</a:t>
            </a:r>
            <a:endParaRPr lang="de-DE" i="1" dirty="0"/>
          </a:p>
        </p:txBody>
      </p:sp>
      <p:pic>
        <p:nvPicPr>
          <p:cNvPr id="27650" name="Picture 2" descr="https://upload.wikimedia.org/wikipedia/commons/d/d5/Virtualbox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441" y="2420660"/>
            <a:ext cx="2220949" cy="222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http://www.unixstickers.com/image/data/stickers/docker/Docker-logo-and-type.sh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244359">
            <a:off x="9096933" y="1688225"/>
            <a:ext cx="3906113" cy="390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Basics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255" y="1307136"/>
            <a:ext cx="7842238" cy="488571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201895" y="6192850"/>
            <a:ext cx="8512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http://</a:t>
            </a:r>
            <a:r>
              <a:rPr lang="de-DE" sz="1600" dirty="0" smtClean="0">
                <a:solidFill>
                  <a:schemeClr val="bg1"/>
                </a:solidFill>
              </a:rPr>
              <a:t>www.enterprisetech.com/2014/05/28/google-runs-software-containers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2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ineriz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Docker</a:t>
            </a:r>
            <a:endParaRPr lang="de-DE" dirty="0"/>
          </a:p>
        </p:txBody>
      </p:sp>
      <p:pic>
        <p:nvPicPr>
          <p:cNvPr id="20482" name="Picture 2" descr="http://www.containersucher.com/assets/plugindata/w2dblgbb1ca3b3057e90d9af3e514539e33a22/pic12719130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3" y="1639974"/>
            <a:ext cx="6387661" cy="395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://www.voelkner.de/products/156561/100-x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89" y="2581023"/>
            <a:ext cx="1593056" cy="100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://www.henri.de/media/image/thumbnail/5964d3325b95881a5ebb4a0835fbf358_600x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62"/>
          <a:stretch/>
        </p:blipFill>
        <p:spPr bwMode="auto">
          <a:xfrm rot="548104">
            <a:off x="5790160" y="4985173"/>
            <a:ext cx="2105556" cy="61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776710" y="2581023"/>
            <a:ext cx="3339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 err="1" smtClean="0">
                <a:solidFill>
                  <a:schemeClr val="bg1"/>
                </a:solidFill>
              </a:rPr>
              <a:t>My</a:t>
            </a:r>
            <a:endParaRPr lang="de-DE" sz="4400" dirty="0" smtClean="0">
              <a:solidFill>
                <a:schemeClr val="bg1"/>
              </a:solidFill>
            </a:endParaRPr>
          </a:p>
          <a:p>
            <a:r>
              <a:rPr lang="de-DE" sz="4400" dirty="0" smtClean="0">
                <a:solidFill>
                  <a:schemeClr val="bg1"/>
                </a:solidFill>
              </a:rPr>
              <a:t>App</a:t>
            </a:r>
            <a:endParaRPr lang="de-DE" sz="4400" dirty="0">
              <a:solidFill>
                <a:schemeClr val="bg1"/>
              </a:solidFill>
            </a:endParaRPr>
          </a:p>
        </p:txBody>
      </p:sp>
      <p:pic>
        <p:nvPicPr>
          <p:cNvPr id="21520" name="Picture 16" descr="http://s4.srfcdn.ch/images/auftritte/kultur/bilder/2014/01/03/node_3915298/56659514-4-ger-DE/bild_s1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72" y="2029036"/>
            <a:ext cx="4156794" cy="311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rechts 6"/>
          <p:cNvSpPr/>
          <p:nvPr/>
        </p:nvSpPr>
        <p:spPr>
          <a:xfrm>
            <a:off x="4960358" y="3367983"/>
            <a:ext cx="794473" cy="49481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4384" y="5159921"/>
            <a:ext cx="42890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http://www.srf.ch/kultur/im-fokus/brasilien/favelas-im-wandel-die-armen-muessen-weich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74296" y="5624565"/>
            <a:ext cx="6470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Standard </a:t>
            </a:r>
            <a:r>
              <a:rPr lang="de-DE" sz="2400" dirty="0" err="1" smtClean="0"/>
              <a:t>format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</a:t>
            </a:r>
            <a:r>
              <a:rPr lang="de-DE" sz="2400" dirty="0" err="1" smtClean="0"/>
              <a:t>start</a:t>
            </a:r>
            <a:r>
              <a:rPr lang="de-DE" sz="2400" dirty="0" smtClean="0"/>
              <a:t>, </a:t>
            </a:r>
            <a:r>
              <a:rPr lang="de-DE" sz="2400" dirty="0" err="1" smtClean="0"/>
              <a:t>stop</a:t>
            </a:r>
            <a:r>
              <a:rPr lang="de-DE" sz="2400" dirty="0" smtClean="0"/>
              <a:t>, </a:t>
            </a:r>
            <a:r>
              <a:rPr lang="de-DE" sz="2400" dirty="0" err="1" smtClean="0"/>
              <a:t>configure</a:t>
            </a:r>
            <a:r>
              <a:rPr lang="de-DE" sz="2400" dirty="0" smtClean="0"/>
              <a:t>, </a:t>
            </a:r>
            <a:r>
              <a:rPr lang="de-DE" sz="2400" dirty="0" err="1" smtClean="0"/>
              <a:t>wire</a:t>
            </a:r>
            <a:r>
              <a:rPr lang="de-DE" sz="2400" dirty="0" smtClean="0"/>
              <a:t>, </a:t>
            </a:r>
            <a:r>
              <a:rPr lang="de-DE" sz="2400" dirty="0" err="1" smtClean="0"/>
              <a:t>debug</a:t>
            </a:r>
            <a:r>
              <a:rPr lang="de-DE" sz="2400" dirty="0" smtClean="0"/>
              <a:t>, …) </a:t>
            </a:r>
            <a:br>
              <a:rPr lang="de-DE" sz="2400" dirty="0" smtClean="0"/>
            </a:b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software</a:t>
            </a:r>
            <a:r>
              <a:rPr lang="de-DE" sz="2400" dirty="0" smtClean="0"/>
              <a:t> </a:t>
            </a:r>
            <a:r>
              <a:rPr lang="de-DE" sz="2400" dirty="0" err="1" smtClean="0"/>
              <a:t>logistics</a:t>
            </a:r>
            <a:r>
              <a:rPr lang="de-DE" sz="2400" dirty="0" smtClean="0"/>
              <a:t>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08280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2" name="think-cell Folie" r:id="rId5" imgW="290" imgH="290" progId="TCLayout.ActiveDocument.1">
                  <p:embed/>
                </p:oleObj>
              </mc:Choice>
              <mc:Fallback>
                <p:oleObj name="think-cell Folie" r:id="rId5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/>
          <p:cNvSpPr/>
          <p:nvPr/>
        </p:nvSpPr>
        <p:spPr>
          <a:xfrm>
            <a:off x="1522056" y="1339531"/>
            <a:ext cx="3704812" cy="35334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Rechteck 3"/>
          <p:cNvSpPr/>
          <p:nvPr/>
        </p:nvSpPr>
        <p:spPr>
          <a:xfrm>
            <a:off x="6349803" y="1339531"/>
            <a:ext cx="3413318" cy="3929155"/>
          </a:xfrm>
          <a:prstGeom prst="rect">
            <a:avLst/>
          </a:prstGeom>
          <a:solidFill>
            <a:srgbClr val="CC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: Images </a:t>
            </a:r>
            <a:r>
              <a:rPr lang="de-DE" dirty="0" err="1" smtClean="0"/>
              <a:t>and</a:t>
            </a:r>
            <a:r>
              <a:rPr lang="de-DE" dirty="0" smtClean="0"/>
              <a:t> Container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740479" y="3739928"/>
            <a:ext cx="3387689" cy="95027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Base Image</a:t>
            </a:r>
            <a:br>
              <a:rPr lang="de-DE" b="1" dirty="0" smtClean="0"/>
            </a:br>
            <a:r>
              <a:rPr lang="de-DE" dirty="0" smtClean="0"/>
              <a:t>(e.g. Ubuntu)</a:t>
            </a:r>
          </a:p>
        </p:txBody>
      </p:sp>
      <p:sp>
        <p:nvSpPr>
          <p:cNvPr id="10" name="Rechteck 9"/>
          <p:cNvSpPr/>
          <p:nvPr/>
        </p:nvSpPr>
        <p:spPr>
          <a:xfrm>
            <a:off x="1740479" y="2358046"/>
            <a:ext cx="3376671" cy="121457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err="1" smtClean="0"/>
              <a:t>Derived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Images &lt;I1&gt;</a:t>
            </a:r>
            <a:endParaRPr lang="de-DE" dirty="0" smtClean="0"/>
          </a:p>
        </p:txBody>
      </p:sp>
      <p:sp>
        <p:nvSpPr>
          <p:cNvPr id="9" name="Rechteck 8"/>
          <p:cNvSpPr/>
          <p:nvPr/>
        </p:nvSpPr>
        <p:spPr>
          <a:xfrm>
            <a:off x="3241201" y="3817591"/>
            <a:ext cx="1791189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Filesystem</a:t>
            </a:r>
          </a:p>
        </p:txBody>
      </p:sp>
      <p:cxnSp>
        <p:nvCxnSpPr>
          <p:cNvPr id="17" name="Gerader Verbinder 16"/>
          <p:cNvCxnSpPr>
            <a:stCxn id="10" idx="2"/>
            <a:endCxn id="8" idx="0"/>
          </p:cNvCxnSpPr>
          <p:nvPr/>
        </p:nvCxnSpPr>
        <p:spPr>
          <a:xfrm>
            <a:off x="3428815" y="3572619"/>
            <a:ext cx="5509" cy="16730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848714" y="2134139"/>
            <a:ext cx="1" cy="24445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>
            <a:off x="4833586" y="2137363"/>
            <a:ext cx="517518" cy="471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125553" y="2536103"/>
            <a:ext cx="236865" cy="2692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H="1" flipV="1">
            <a:off x="5343781" y="2128479"/>
            <a:ext cx="5977" cy="407624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6466716" y="1813651"/>
            <a:ext cx="3165778" cy="251184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Union Filesystem</a:t>
            </a:r>
            <a:endParaRPr lang="de-DE" dirty="0" smtClean="0"/>
          </a:p>
        </p:txBody>
      </p:sp>
      <p:sp>
        <p:nvSpPr>
          <p:cNvPr id="34" name="Rechteck 33"/>
          <p:cNvSpPr/>
          <p:nvPr/>
        </p:nvSpPr>
        <p:spPr>
          <a:xfrm>
            <a:off x="6601305" y="3719569"/>
            <a:ext cx="2825278" cy="47103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Distro</a:t>
            </a:r>
            <a:r>
              <a:rPr lang="de-DE" dirty="0" smtClean="0"/>
              <a:t> </a:t>
            </a:r>
            <a:r>
              <a:rPr lang="de-DE" dirty="0" err="1" smtClean="0"/>
              <a:t>libs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les</a:t>
            </a:r>
            <a:endParaRPr lang="de-DE" dirty="0" smtClean="0"/>
          </a:p>
        </p:txBody>
      </p:sp>
      <p:sp>
        <p:nvSpPr>
          <p:cNvPr id="35" name="Rechteck 34"/>
          <p:cNvSpPr/>
          <p:nvPr/>
        </p:nvSpPr>
        <p:spPr>
          <a:xfrm>
            <a:off x="6601305" y="3357638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6" name="Gleichschenkliges Dreieck 35"/>
          <p:cNvSpPr/>
          <p:nvPr/>
        </p:nvSpPr>
        <p:spPr>
          <a:xfrm>
            <a:off x="7903637" y="342860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Rechteck 36"/>
          <p:cNvSpPr/>
          <p:nvPr/>
        </p:nvSpPr>
        <p:spPr>
          <a:xfrm>
            <a:off x="6597725" y="2819015"/>
            <a:ext cx="2828858" cy="3619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Gleichschenkliges Dreieck 37"/>
          <p:cNvSpPr/>
          <p:nvPr/>
        </p:nvSpPr>
        <p:spPr>
          <a:xfrm>
            <a:off x="7900057" y="2889980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9" name="Gerader Verbinder 38"/>
          <p:cNvCxnSpPr>
            <a:stCxn id="35" idx="0"/>
            <a:endCxn id="37" idx="2"/>
          </p:cNvCxnSpPr>
          <p:nvPr/>
        </p:nvCxnSpPr>
        <p:spPr>
          <a:xfrm flipH="1" flipV="1">
            <a:off x="8012154" y="3180946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595934" y="2233918"/>
            <a:ext cx="2828858" cy="361931"/>
          </a:xfrm>
          <a:prstGeom prst="rect">
            <a:avLst/>
          </a:prstGeom>
          <a:solidFill>
            <a:srgbClr val="92D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ntainer State</a:t>
            </a:r>
          </a:p>
        </p:txBody>
      </p:sp>
      <p:cxnSp>
        <p:nvCxnSpPr>
          <p:cNvPr id="42" name="Gerader Verbinder 41"/>
          <p:cNvCxnSpPr/>
          <p:nvPr/>
        </p:nvCxnSpPr>
        <p:spPr>
          <a:xfrm flipH="1" flipV="1">
            <a:off x="7979011" y="2584309"/>
            <a:ext cx="3580" cy="176692"/>
          </a:xfrm>
          <a:prstGeom prst="line">
            <a:avLst/>
          </a:prstGeom>
          <a:ln w="31750" cmpd="sng">
            <a:solidFill>
              <a:schemeClr val="bg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6466715" y="4325497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/>
              <a:t>Container Information</a:t>
            </a:r>
            <a:endParaRPr lang="de-DE" dirty="0" smtClean="0"/>
          </a:p>
        </p:txBody>
      </p:sp>
      <p:sp>
        <p:nvSpPr>
          <p:cNvPr id="43" name="Pfeil nach rechts 42"/>
          <p:cNvSpPr/>
          <p:nvPr/>
        </p:nvSpPr>
        <p:spPr>
          <a:xfrm>
            <a:off x="5239369" y="3967533"/>
            <a:ext cx="1120087" cy="32392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Pfeil nach rechts 45"/>
          <p:cNvSpPr/>
          <p:nvPr/>
        </p:nvSpPr>
        <p:spPr>
          <a:xfrm rot="10800000">
            <a:off x="5226868" y="2745670"/>
            <a:ext cx="1119355" cy="369741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5506348" y="3712128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un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5392462" y="2458778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commit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7417893" y="137842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ntain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9494220" y="2818154"/>
            <a:ext cx="729232" cy="1355014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Geschweifte Klammer rechts 39"/>
          <p:cNvSpPr/>
          <p:nvPr/>
        </p:nvSpPr>
        <p:spPr>
          <a:xfrm>
            <a:off x="9502356" y="2182189"/>
            <a:ext cx="729232" cy="490466"/>
          </a:xfrm>
          <a:prstGeom prst="rightBrac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0231588" y="3300571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r</a:t>
            </a:r>
            <a:r>
              <a:rPr lang="de-DE" dirty="0" err="1" smtClean="0"/>
              <a:t>ea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10231588" y="2208736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read</a:t>
            </a:r>
            <a:r>
              <a:rPr lang="de-DE" dirty="0" smtClean="0"/>
              <a:t> / </a:t>
            </a:r>
            <a:r>
              <a:rPr lang="de-DE" dirty="0" err="1" smtClean="0"/>
              <a:t>write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2723420" y="137842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mages</a:t>
            </a:r>
            <a:endParaRPr lang="de-DE" dirty="0"/>
          </a:p>
        </p:txBody>
      </p:sp>
      <p:sp>
        <p:nvSpPr>
          <p:cNvPr id="51" name="Rechteck 50"/>
          <p:cNvSpPr/>
          <p:nvPr/>
        </p:nvSpPr>
        <p:spPr>
          <a:xfrm>
            <a:off x="3241201" y="4243422"/>
            <a:ext cx="1791189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59" name="Rechteck 58"/>
          <p:cNvSpPr/>
          <p:nvPr/>
        </p:nvSpPr>
        <p:spPr>
          <a:xfrm>
            <a:off x="3241201" y="2737166"/>
            <a:ext cx="1801827" cy="392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Filesystem</a:t>
            </a:r>
          </a:p>
        </p:txBody>
      </p:sp>
      <p:sp>
        <p:nvSpPr>
          <p:cNvPr id="60" name="Rechteck 59"/>
          <p:cNvSpPr/>
          <p:nvPr/>
        </p:nvSpPr>
        <p:spPr>
          <a:xfrm>
            <a:off x="3241201" y="3162997"/>
            <a:ext cx="1801827" cy="37009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    </a:t>
            </a:r>
            <a:r>
              <a:rPr lang="de-DE" dirty="0" err="1" smtClean="0"/>
              <a:t>Configuration</a:t>
            </a:r>
            <a:endParaRPr lang="de-DE" dirty="0" smtClean="0"/>
          </a:p>
        </p:txBody>
      </p:sp>
      <p:sp>
        <p:nvSpPr>
          <p:cNvPr id="64" name="Textfeld 63"/>
          <p:cNvSpPr txBox="1"/>
          <p:nvPr/>
        </p:nvSpPr>
        <p:spPr>
          <a:xfrm>
            <a:off x="3664703" y="236895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ayer: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>
          <a:xfrm>
            <a:off x="3331971" y="2818154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7" name="Gleichschenkliges Dreieck 66"/>
          <p:cNvSpPr/>
          <p:nvPr/>
        </p:nvSpPr>
        <p:spPr>
          <a:xfrm>
            <a:off x="3318507" y="3234023"/>
            <a:ext cx="220613" cy="223166"/>
          </a:xfrm>
          <a:prstGeom prst="triangle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9" name="Rechteck 68"/>
          <p:cNvSpPr/>
          <p:nvPr/>
        </p:nvSpPr>
        <p:spPr>
          <a:xfrm>
            <a:off x="6466715" y="4726093"/>
            <a:ext cx="3165779" cy="399436"/>
          </a:xfrm>
          <a:prstGeom prst="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/>
              <a:t>Entrypoint</a:t>
            </a:r>
            <a:r>
              <a:rPr lang="de-DE" b="1" dirty="0" smtClean="0"/>
              <a:t> </a:t>
            </a:r>
            <a:r>
              <a:rPr lang="de-DE" b="1" dirty="0" err="1" smtClean="0"/>
              <a:t>Process</a:t>
            </a:r>
            <a:endParaRPr lang="de-DE" dirty="0" smtClean="0"/>
          </a:p>
        </p:txBody>
      </p:sp>
      <p:sp>
        <p:nvSpPr>
          <p:cNvPr id="70" name="Textfeld 69"/>
          <p:cNvSpPr txBox="1"/>
          <p:nvPr/>
        </p:nvSpPr>
        <p:spPr>
          <a:xfrm>
            <a:off x="1852250" y="5334579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Resting</a:t>
            </a:r>
            <a:r>
              <a:rPr lang="de-DE" b="1" dirty="0" smtClean="0"/>
              <a:t> </a:t>
            </a:r>
            <a:r>
              <a:rPr lang="de-DE" b="1" dirty="0" err="1" smtClean="0"/>
              <a:t>and</a:t>
            </a:r>
            <a:r>
              <a:rPr lang="de-DE" b="1" dirty="0" smtClean="0"/>
              <a:t> transportable</a:t>
            </a:r>
          </a:p>
          <a:p>
            <a:r>
              <a:rPr lang="de-DE" dirty="0" smtClean="0"/>
              <a:t>Dock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etches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endParaRPr lang="de-DE" dirty="0" smtClean="0"/>
          </a:p>
          <a:p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endParaRPr lang="de-DE" dirty="0"/>
          </a:p>
        </p:txBody>
      </p:sp>
      <p:sp>
        <p:nvSpPr>
          <p:cNvPr id="71" name="Textfeld 70"/>
          <p:cNvSpPr txBox="1"/>
          <p:nvPr/>
        </p:nvSpPr>
        <p:spPr>
          <a:xfrm>
            <a:off x="6146033" y="5334579"/>
            <a:ext cx="38208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 smtClean="0"/>
              <a:t>Running</a:t>
            </a:r>
            <a:endParaRPr lang="de-DE" b="1" dirty="0" smtClean="0"/>
          </a:p>
          <a:p>
            <a:pPr algn="ctr"/>
            <a:r>
              <a:rPr lang="de-DE" dirty="0" smtClean="0"/>
              <a:t>Container </a:t>
            </a:r>
            <a:r>
              <a:rPr lang="de-DE" dirty="0" err="1" smtClean="0"/>
              <a:t>run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point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runs</a:t>
            </a:r>
            <a:r>
              <a:rPr lang="de-DE" dirty="0" smtClean="0"/>
              <a:t> in </a:t>
            </a:r>
            <a:r>
              <a:rPr lang="de-DE" dirty="0" err="1" smtClean="0"/>
              <a:t>foregro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96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ub.docker.com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ublic </a:t>
            </a:r>
            <a:r>
              <a:rPr lang="de-DE" dirty="0"/>
              <a:t>R</a:t>
            </a:r>
            <a:r>
              <a:rPr lang="de-DE" dirty="0" smtClean="0"/>
              <a:t>epository </a:t>
            </a:r>
            <a:r>
              <a:rPr lang="de-DE" dirty="0" err="1" smtClean="0"/>
              <a:t>for</a:t>
            </a:r>
            <a:r>
              <a:rPr lang="de-DE" dirty="0" smtClean="0"/>
              <a:t> Docker Imag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5700" y="1189972"/>
            <a:ext cx="7275866" cy="503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3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Visualizing</a:t>
            </a:r>
            <a:r>
              <a:rPr lang="de-DE" dirty="0" smtClean="0"/>
              <a:t> Image </a:t>
            </a:r>
            <a:r>
              <a:rPr lang="de-DE" dirty="0" err="1" smtClean="0"/>
              <a:t>Lay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magelayers.io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2558" y="919971"/>
            <a:ext cx="4439719" cy="569957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102678" y="6311766"/>
            <a:ext cx="2802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ildquelle: </a:t>
            </a:r>
            <a:r>
              <a:rPr lang="de-DE" sz="1400" dirty="0" smtClean="0">
                <a:hlinkClick r:id="rId3"/>
              </a:rPr>
              <a:t>https</a:t>
            </a:r>
            <a:r>
              <a:rPr lang="de-DE" sz="1400" dirty="0">
                <a:hlinkClick r:id="rId3"/>
              </a:rPr>
              <a:t>://</a:t>
            </a:r>
            <a:r>
              <a:rPr lang="de-DE" sz="1400" dirty="0" smtClean="0">
                <a:hlinkClick r:id="rId3"/>
              </a:rPr>
              <a:t>imagelayers.io</a:t>
            </a:r>
            <a:r>
              <a:rPr lang="de-DE" sz="1400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00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281</Words>
  <Application>Microsoft Macintosh PowerPoint</Application>
  <PresentationFormat>Widescreen</PresentationFormat>
  <Paragraphs>278</Paragraphs>
  <Slides>2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rial Narrow</vt:lpstr>
      <vt:lpstr>Calibri</vt:lpstr>
      <vt:lpstr>Cambria Math</vt:lpstr>
      <vt:lpstr>Courier New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Hardware vs. OS Virtualization</vt:lpstr>
      <vt:lpstr>Docker Basics</vt:lpstr>
      <vt:lpstr>Containerization with Docker</vt:lpstr>
      <vt:lpstr>Docker: Images and Containers</vt:lpstr>
      <vt:lpstr>hub.docker.com is the Public Repository for Docker Images</vt:lpstr>
      <vt:lpstr>Visualizing Image Layers with imagelayers.io </vt:lpstr>
      <vt:lpstr>Docker Architecture</vt:lpstr>
      <vt:lpstr>Docker: Building Blocks</vt:lpstr>
      <vt:lpstr>PowerPoint Presentation</vt:lpstr>
      <vt:lpstr>Docker Workflow</vt:lpstr>
      <vt:lpstr>Docker Workflow Overview</vt:lpstr>
      <vt:lpstr>A Typical Workflow</vt:lpstr>
      <vt:lpstr>Container Troubleshooting</vt:lpstr>
      <vt:lpstr>Writing Dockerfiles</vt:lpstr>
      <vt:lpstr>A Dockerfile can be Used to Build an Image</vt:lpstr>
      <vt:lpstr>Dockerfile Commands</vt:lpstr>
      <vt:lpstr>Katacoda: A Guided Training Environment for Docker.</vt:lpstr>
      <vt:lpstr>https://github.com/veggiemonk/awesome-docker </vt:lpstr>
      <vt:lpstr>Docker Best Practices</vt:lpstr>
      <vt:lpstr>List of Best Practices</vt:lpstr>
      <vt:lpstr>A Docker Build must be repeatable</vt:lpstr>
      <vt:lpstr>Concatenate associated commands in the `RUN` command </vt:lpstr>
      <vt:lpstr>Remove temporary files</vt:lpstr>
      <vt:lpstr>Publish important Ports with `EXPOSE `</vt:lpstr>
      <vt:lpstr>Define Environment Variables 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7</cp:revision>
  <dcterms:created xsi:type="dcterms:W3CDTF">2014-10-08T07:51:16Z</dcterms:created>
  <dcterms:modified xsi:type="dcterms:W3CDTF">2016-11-06T17:12:26Z</dcterms:modified>
</cp:coreProperties>
</file>